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745" r:id="rId1"/>
    <p:sldMasterId id="2147483747" r:id="rId2"/>
    <p:sldMasterId id="2147483749" r:id="rId3"/>
    <p:sldMasterId id="2147483752" r:id="rId4"/>
  </p:sldMasterIdLst>
  <p:notesMasterIdLst>
    <p:notesMasterId r:id="rId13"/>
  </p:notesMasterIdLst>
  <p:handoutMasterIdLst>
    <p:handoutMasterId r:id="rId14"/>
  </p:handoutMasterIdLst>
  <p:sldIdLst>
    <p:sldId id="923" r:id="rId5"/>
    <p:sldId id="961" r:id="rId6"/>
    <p:sldId id="960" r:id="rId7"/>
    <p:sldId id="966" r:id="rId8"/>
    <p:sldId id="959" r:id="rId9"/>
    <p:sldId id="967" r:id="rId10"/>
    <p:sldId id="968" r:id="rId11"/>
    <p:sldId id="964" r:id="rId12"/>
  </p:sldIdLst>
  <p:sldSz cx="12192000" cy="6858000"/>
  <p:notesSz cx="6808788" cy="9940925"/>
  <p:embeddedFontLst>
    <p:embeddedFont>
      <p:font typeface="SB Sans Text Heavy" panose="020B0604020202020204" charset="-52"/>
      <p:bold r:id="rId15"/>
    </p:embeddedFon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SB Sans Display" panose="020B0604020202020204" charset="0"/>
      <p:regular r:id="rId20"/>
      <p:bold r:id="rId21"/>
    </p:embeddedFont>
    <p:embeddedFont>
      <p:font typeface="SB Sans Text" panose="020B0604020202020204" charset="-52"/>
      <p:regular r:id="rId22"/>
      <p:bold r:id="rId23"/>
      <p:italic r:id="rId24"/>
      <p:boldItalic r:id="rId25"/>
    </p:embeddedFont>
    <p:embeddedFont>
      <p:font typeface="SB Sans Display Light" panose="020B0604020202020204" charset="0"/>
      <p:regular r:id="rId26"/>
    </p:embeddedFont>
    <p:embeddedFont>
      <p:font typeface="Century Gothic" panose="020B0502020202020204" pitchFamily="34" charset="0"/>
      <p:regular r:id="rId27"/>
      <p:bold r:id="rId28"/>
      <p:italic r:id="rId29"/>
      <p:boldItalic r:id="rId30"/>
    </p:embeddedFont>
    <p:embeddedFont>
      <p:font typeface="SB Sans Display Semibold" panose="020B0604020202020204" charset="0"/>
      <p:bold r:id="rId31"/>
    </p:embeddedFont>
  </p:embeddedFontLst>
  <p:custDataLst>
    <p:tags r:id="rId3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29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Кузин Александр Валерьевич" initials="КАВ" lastIdx="1" clrIdx="0">
    <p:extLst>
      <p:ext uri="{19B8F6BF-5375-455C-9EA6-DF929625EA0E}">
        <p15:presenceInfo xmlns:p15="http://schemas.microsoft.com/office/powerpoint/2012/main" userId="S-1-5-21-783378865-1392545885-1772687753-180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59D"/>
    <a:srgbClr val="015073"/>
    <a:srgbClr val="329B51"/>
    <a:srgbClr val="237B59"/>
    <a:srgbClr val="0D5B14"/>
    <a:srgbClr val="0189C3"/>
    <a:srgbClr val="0189C5"/>
    <a:srgbClr val="0FA120"/>
    <a:srgbClr val="68F178"/>
    <a:srgbClr val="9BF2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A488322-F2BA-4B5B-9748-0D474271808F}" styleName="Средний стиль 3 —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C4B1156A-380E-4F78-BDF5-A606A8083BF9}" styleName="Средний стиль 4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46F890A9-2807-4EBB-B81D-B2AA78EC7F39}" styleName="Темный стиль 2 — акцент 5/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540" autoAdjust="0"/>
    <p:restoredTop sz="95256" autoAdjust="0"/>
  </p:normalViewPr>
  <p:slideViewPr>
    <p:cSldViewPr>
      <p:cViewPr varScale="1">
        <p:scale>
          <a:sx n="116" d="100"/>
          <a:sy n="116" d="100"/>
        </p:scale>
        <p:origin x="360" y="108"/>
      </p:cViewPr>
      <p:guideLst>
        <p:guide orient="horz" pos="3929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64" d="100"/>
          <a:sy n="64" d="100"/>
        </p:scale>
        <p:origin x="3115" y="67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notesMaster" Target="notesMasters/notesMaster1.xml"/><Relationship Id="rId18" Type="http://schemas.openxmlformats.org/officeDocument/2006/relationships/font" Target="fonts/font4.fntdata"/><Relationship Id="rId26" Type="http://schemas.openxmlformats.org/officeDocument/2006/relationships/font" Target="fonts/font12.fntdata"/><Relationship Id="rId3" Type="http://schemas.openxmlformats.org/officeDocument/2006/relationships/slideMaster" Target="slideMasters/slideMaster3.xml"/><Relationship Id="rId21" Type="http://schemas.openxmlformats.org/officeDocument/2006/relationships/font" Target="fonts/font7.fntdata"/><Relationship Id="rId34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font" Target="fonts/font3.fntdata"/><Relationship Id="rId25" Type="http://schemas.openxmlformats.org/officeDocument/2006/relationships/font" Target="fonts/font11.fntdata"/><Relationship Id="rId33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font" Target="fonts/font1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10.fntdata"/><Relationship Id="rId32" Type="http://schemas.openxmlformats.org/officeDocument/2006/relationships/tags" Target="tags/tag1.xml"/><Relationship Id="rId37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font" Target="fonts/font14.fntdata"/><Relationship Id="rId36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font" Target="fonts/font5.fntdata"/><Relationship Id="rId31" Type="http://schemas.openxmlformats.org/officeDocument/2006/relationships/font" Target="fonts/font17.fntdata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handoutMaster" Target="handoutMasters/handoutMaster1.xml"/><Relationship Id="rId22" Type="http://schemas.openxmlformats.org/officeDocument/2006/relationships/font" Target="fonts/font8.fntdata"/><Relationship Id="rId27" Type="http://schemas.openxmlformats.org/officeDocument/2006/relationships/font" Target="fonts/font13.fntdata"/><Relationship Id="rId30" Type="http://schemas.openxmlformats.org/officeDocument/2006/relationships/font" Target="fonts/font16.fntdata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10209285-B0D0-4C41-A26B-8F284CC8DF1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2556" tIns="46278" rIns="92556" bIns="4627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004C5C53-A945-4971-B8D4-06954B3E656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2556" tIns="46278" rIns="92556" bIns="46278" rtlCol="0"/>
          <a:lstStyle>
            <a:lvl1pPr algn="r">
              <a:defRPr sz="1200"/>
            </a:lvl1pPr>
          </a:lstStyle>
          <a:p>
            <a:fld id="{E8934386-5D58-4A68-BB09-DA2EE98EE7BF}" type="datetimeFigureOut">
              <a:rPr lang="ru-RU" smtClean="0"/>
              <a:t>08.09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6661FEA7-5529-4675-A400-061E8D42500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2556" tIns="46278" rIns="92556" bIns="4627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483F6C99-942C-4B02-9AFB-6483269FE49E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2556" tIns="46278" rIns="92556" bIns="46278" rtlCol="0" anchor="b"/>
          <a:lstStyle>
            <a:lvl1pPr algn="r">
              <a:defRPr sz="1200"/>
            </a:lvl1pPr>
          </a:lstStyle>
          <a:p>
            <a:fld id="{CB1FFEAE-BE66-4AE7-BFF3-394748DCBA6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45729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0475" cy="498773"/>
          </a:xfrm>
          <a:prstGeom prst="rect">
            <a:avLst/>
          </a:prstGeom>
        </p:spPr>
        <p:txBody>
          <a:bodyPr vert="horz" lIns="92556" tIns="46278" rIns="92556" bIns="46278" rtlCol="0"/>
          <a:lstStyle>
            <a:lvl1pPr algn="l">
              <a:defRPr sz="1200" b="0" i="0">
                <a:latin typeface="SB Sans Display" panose="020B0503040504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737" y="0"/>
            <a:ext cx="2950475" cy="498773"/>
          </a:xfrm>
          <a:prstGeom prst="rect">
            <a:avLst/>
          </a:prstGeom>
        </p:spPr>
        <p:txBody>
          <a:bodyPr vert="horz" lIns="92556" tIns="46278" rIns="92556" bIns="46278" rtlCol="0"/>
          <a:lstStyle>
            <a:lvl1pPr algn="r">
              <a:defRPr sz="1200" b="0" i="0">
                <a:latin typeface="SB Sans Display" panose="020B0503040504020204" pitchFamily="34" charset="0"/>
              </a:defRPr>
            </a:lvl1pPr>
          </a:lstStyle>
          <a:p>
            <a:fld id="{3E3236B3-CB3F-2F4C-AC9B-2573EC47D609}" type="datetimeFigureOut">
              <a:rPr lang="ru-RU" smtClean="0"/>
              <a:pPr/>
              <a:t>08.09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4238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556" tIns="46278" rIns="92556" bIns="46278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80" y="4784071"/>
            <a:ext cx="5447030" cy="3914239"/>
          </a:xfrm>
          <a:prstGeom prst="rect">
            <a:avLst/>
          </a:prstGeom>
        </p:spPr>
        <p:txBody>
          <a:bodyPr vert="horz" lIns="92556" tIns="46278" rIns="92556" bIns="46278" rtlCol="0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2154"/>
            <a:ext cx="2950475" cy="498772"/>
          </a:xfrm>
          <a:prstGeom prst="rect">
            <a:avLst/>
          </a:prstGeom>
        </p:spPr>
        <p:txBody>
          <a:bodyPr vert="horz" lIns="92556" tIns="46278" rIns="92556" bIns="46278" rtlCol="0" anchor="b"/>
          <a:lstStyle>
            <a:lvl1pPr algn="l">
              <a:defRPr sz="1200" b="0" i="0">
                <a:latin typeface="SB Sans Display" panose="020B0503040504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737" y="9442154"/>
            <a:ext cx="2950475" cy="498772"/>
          </a:xfrm>
          <a:prstGeom prst="rect">
            <a:avLst/>
          </a:prstGeom>
        </p:spPr>
        <p:txBody>
          <a:bodyPr vert="horz" lIns="92556" tIns="46278" rIns="92556" bIns="46278" rtlCol="0" anchor="b"/>
          <a:lstStyle>
            <a:lvl1pPr algn="r">
              <a:defRPr sz="1200" b="0" i="0">
                <a:latin typeface="SB Sans Display" panose="020B0503040504020204" pitchFamily="34" charset="0"/>
              </a:defRPr>
            </a:lvl1pPr>
          </a:lstStyle>
          <a:p>
            <a:fld id="{2DB2F3A3-BCF9-CA47-9A91-EA3EF72C080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305130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SB Sans Display" panose="020B0503040504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http://5E08304B17B9F704B3F8B38F2A333CFB.dms.sberbank.ru/5E08304B17B9F704B3F8B38F2A333CFB-BB177607B30EDFF52D017146BEE84296-261A916D1C92BD2502C7581A7BBFF46A/1.png" TargetMode="External"/><Relationship Id="rId2" Type="http://schemas.openxmlformats.org/officeDocument/2006/relationships/image" Target="http://5E08304B17B9F704B3F8B38F2A333CFB.dms.sberbank.ru/5E08304B17B9F704B3F8B38F2A333CFB-EFC1C795FD1B412277EE0DB831658CD9-0304D3FD32AE4AF87B14A41A3E5D6DD6/1.png" TargetMode="External"/><Relationship Id="rId1" Type="http://schemas.openxmlformats.org/officeDocument/2006/relationships/slideMaster" Target="../slideMasters/slideMaster3.xml"/><Relationship Id="rId4" Type="http://schemas.openxmlformats.org/officeDocument/2006/relationships/image" Target="http://5E08304B17B9F704B3F8B38F2A333CFB.dms.sberbank.ru/5E08304B17B9F704B3F8B38F2A333CFB-BB177607B30EDFF52D017146BEE84296-A6BF06000A317A22BEFD3C4EF8FE45FA/1.png" TargetMode="Externa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31803" y="191890"/>
            <a:ext cx="9816548" cy="491615"/>
          </a:xfrm>
          <a:prstGeom prst="rect">
            <a:avLst/>
          </a:prstGeom>
        </p:spPr>
        <p:txBody>
          <a:bodyPr lIns="91436" tIns="45718" rIns="91436" bIns="45718"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03838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31803" y="191891"/>
            <a:ext cx="9816548" cy="491615"/>
          </a:xfrm>
          <a:prstGeom prst="rect">
            <a:avLst/>
          </a:prstGeom>
        </p:spPr>
        <p:txBody>
          <a:bodyPr lIns="91434" tIns="45717" rIns="91434" bIns="45717"/>
          <a:lstStyle/>
          <a:p>
            <a:endParaRPr lang="ru-RU"/>
          </a:p>
        </p:txBody>
      </p:sp>
      <p:pic>
        <p:nvPicPr>
          <p:cNvPr id="42" name="Рисунок 41" descr="http://5E08304B17B9F704B3F8B38F2A333CFB.dms.sberbank.ru/5E08304B17B9F704B3F8B38F2A333CFB-EFC1C795FD1B412277EE0DB831658CD9-0304D3FD32AE4AF87B14A41A3E5D6DD6/1.png"/>
          <p:cNvPicPr>
            <a:picLocks/>
          </p:cNvPicPr>
          <p:nvPr userDrawn="1"/>
        </p:nvPicPr>
        <p:blipFill>
          <a:blip r:link="rId2"/>
          <a:stretch>
            <a:fillRect/>
          </a:stretch>
        </p:blipFill>
        <p:spPr>
          <a:xfrm>
            <a:off x="0" y="0"/>
            <a:ext cx="2117" cy="2117"/>
          </a:xfrm>
          <a:prstGeom prst="rect">
            <a:avLst/>
          </a:prstGeom>
        </p:spPr>
      </p:pic>
      <p:pic>
        <p:nvPicPr>
          <p:cNvPr id="46" name="Рисунок 45" descr="http://5E08304B17B9F704B3F8B38F2A333CFB.dms.sberbank.ru/5E08304B17B9F704B3F8B38F2A333CFB-EFC1C795FD1B412277EE0DB831658CD9-0304D3FD32AE4AF87B14A41A3E5D6DD6/1.png"/>
          <p:cNvPicPr>
            <a:picLocks/>
          </p:cNvPicPr>
          <p:nvPr userDrawn="1"/>
        </p:nvPicPr>
        <p:blipFill>
          <a:blip r:link="rId2"/>
          <a:stretch>
            <a:fillRect/>
          </a:stretch>
        </p:blipFill>
        <p:spPr>
          <a:xfrm>
            <a:off x="0" y="0"/>
            <a:ext cx="2117" cy="2117"/>
          </a:xfrm>
          <a:prstGeom prst="rect">
            <a:avLst/>
          </a:prstGeom>
        </p:spPr>
      </p:pic>
      <p:pic>
        <p:nvPicPr>
          <p:cNvPr id="50" name="Рисунок 49" descr="http://5E08304B17B9F704B3F8B38F2A333CFB.dms.sberbank.ru/5E08304B17B9F704B3F8B38F2A333CFB-EFC1C795FD1B412277EE0DB831658CD9-0304D3FD32AE4AF87B14A41A3E5D6DD6/1.png"/>
          <p:cNvPicPr>
            <a:picLocks/>
          </p:cNvPicPr>
          <p:nvPr userDrawn="1"/>
        </p:nvPicPr>
        <p:blipFill>
          <a:blip r:link="rId2"/>
          <a:stretch>
            <a:fillRect/>
          </a:stretch>
        </p:blipFill>
        <p:spPr>
          <a:xfrm>
            <a:off x="0" y="0"/>
            <a:ext cx="2117" cy="2117"/>
          </a:xfrm>
          <a:prstGeom prst="rect">
            <a:avLst/>
          </a:prstGeom>
        </p:spPr>
      </p:pic>
      <p:pic>
        <p:nvPicPr>
          <p:cNvPr id="54" name="Рисунок 53" descr="http://5E08304B17B9F704B3F8B38F2A333CFB.dms.sberbank.ru/5E08304B17B9F704B3F8B38F2A333CFB-EFC1C795FD1B412277EE0DB831658CD9-0304D3FD32AE4AF87B14A41A3E5D6DD6/1.png"/>
          <p:cNvPicPr>
            <a:picLocks/>
          </p:cNvPicPr>
          <p:nvPr userDrawn="1"/>
        </p:nvPicPr>
        <p:blipFill>
          <a:blip r:link="rId2"/>
          <a:stretch>
            <a:fillRect/>
          </a:stretch>
        </p:blipFill>
        <p:spPr>
          <a:xfrm>
            <a:off x="0" y="0"/>
            <a:ext cx="2117" cy="2117"/>
          </a:xfrm>
          <a:prstGeom prst="rect">
            <a:avLst/>
          </a:prstGeom>
        </p:spPr>
      </p:pic>
      <p:pic>
        <p:nvPicPr>
          <p:cNvPr id="2" name="Рисунок 1" descr="http://5E08304B17B9F704B3F8B38F2A333CFB.dms.sberbank.ru/5E08304B17B9F704B3F8B38F2A333CFB-BB177607B30EDFF52D017146BEE84296-261A916D1C92BD2502C7581A7BBFF46A/1.png"/>
          <p:cNvPicPr>
            <a:picLocks/>
          </p:cNvPicPr>
          <p:nvPr userDrawn="1"/>
        </p:nvPicPr>
        <p:blipFill>
          <a:blip r:link="rId3"/>
          <a:stretch>
            <a:fillRect/>
          </a:stretch>
        </p:blipFill>
        <p:spPr>
          <a:xfrm>
            <a:off x="0" y="0"/>
            <a:ext cx="2117" cy="2117"/>
          </a:xfrm>
          <a:prstGeom prst="rect">
            <a:avLst/>
          </a:prstGeom>
        </p:spPr>
      </p:pic>
      <p:pic>
        <p:nvPicPr>
          <p:cNvPr id="3" name="Рисунок 2" descr="http://5E08304B17B9F704B3F8B38F2A333CFB.dms.sberbank.ru/5E08304B17B9F704B3F8B38F2A333CFB-BB177607B30EDFF52D017146BEE84296-261A916D1C92BD2502C7581A7BBFF46A/1.png"/>
          <p:cNvPicPr>
            <a:picLocks/>
          </p:cNvPicPr>
          <p:nvPr userDrawn="1"/>
        </p:nvPicPr>
        <p:blipFill>
          <a:blip r:link="rId3"/>
          <a:stretch>
            <a:fillRect/>
          </a:stretch>
        </p:blipFill>
        <p:spPr>
          <a:xfrm>
            <a:off x="0" y="0"/>
            <a:ext cx="2117" cy="2117"/>
          </a:xfrm>
          <a:prstGeom prst="rect">
            <a:avLst/>
          </a:prstGeom>
        </p:spPr>
      </p:pic>
      <p:pic>
        <p:nvPicPr>
          <p:cNvPr id="4" name="Рисунок 3" descr="http://5E08304B17B9F704B3F8B38F2A333CFB.dms.sberbank.ru/5E08304B17B9F704B3F8B38F2A333CFB-BB177607B30EDFF52D017146BEE84296-A6BF06000A317A22BEFD3C4EF8FE45FA/1.png"/>
          <p:cNvPicPr>
            <a:picLocks/>
          </p:cNvPicPr>
          <p:nvPr userDrawn="1"/>
        </p:nvPicPr>
        <p:blipFill>
          <a:blip r:link="rId4"/>
          <a:stretch>
            <a:fillRect/>
          </a:stretch>
        </p:blipFill>
        <p:spPr>
          <a:xfrm>
            <a:off x="0" y="0"/>
            <a:ext cx="2117" cy="2117"/>
          </a:xfrm>
          <a:prstGeom prst="rect">
            <a:avLst/>
          </a:prstGeom>
        </p:spPr>
      </p:pic>
      <p:pic>
        <p:nvPicPr>
          <p:cNvPr id="5" name="Рисунок 4" descr="http://5E08304B17B9F704B3F8B38F2A333CFB.dms.sberbank.ru/5E08304B17B9F704B3F8B38F2A333CFB-BB177607B30EDFF52D017146BEE84296-A6BF06000A317A22BEFD3C4EF8FE45FA/1.png"/>
          <p:cNvPicPr>
            <a:picLocks/>
          </p:cNvPicPr>
          <p:nvPr userDrawn="1"/>
        </p:nvPicPr>
        <p:blipFill>
          <a:blip r:link="rId4"/>
          <a:stretch>
            <a:fillRect/>
          </a:stretch>
        </p:blipFill>
        <p:spPr>
          <a:xfrm>
            <a:off x="0" y="0"/>
            <a:ext cx="2117" cy="2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0763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42EBD2A8-1A14-904C-BE64-1846AEF302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22"/>
          <a:stretch/>
        </p:blipFill>
        <p:spPr>
          <a:xfrm>
            <a:off x="0" y="0"/>
            <a:ext cx="12192000" cy="6705600"/>
          </a:xfrm>
          <a:prstGeom prst="rect">
            <a:avLst/>
          </a:prstGeom>
        </p:spPr>
      </p:pic>
      <p:sp>
        <p:nvSpPr>
          <p:cNvPr id="9" name="Текст 23">
            <a:extLst>
              <a:ext uri="{FF2B5EF4-FFF2-40B4-BE49-F238E27FC236}">
                <a16:creationId xmlns:a16="http://schemas.microsoft.com/office/drawing/2014/main" xmlns="" id="{4205337B-1CB9-C644-81AE-707DE9A1117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446088"/>
            <a:ext cx="10363200" cy="392112"/>
          </a:xfrm>
          <a:prstGeom prst="rect">
            <a:avLst/>
          </a:prstGeom>
        </p:spPr>
        <p:txBody>
          <a:bodyPr/>
          <a:lstStyle>
            <a:lvl1pPr>
              <a:defRPr sz="2400" b="1">
                <a:gradFill>
                  <a:gsLst>
                    <a:gs pos="0">
                      <a:schemeClr val="accent2">
                        <a:lumMod val="75000"/>
                      </a:schemeClr>
                    </a:gs>
                    <a:gs pos="40000">
                      <a:schemeClr val="accent4"/>
                    </a:gs>
                    <a:gs pos="75000">
                      <a:schemeClr val="accent3"/>
                    </a:gs>
                    <a:gs pos="100000">
                      <a:schemeClr val="tx2"/>
                    </a:gs>
                  </a:gsLst>
                  <a:lin ang="0" scaled="0"/>
                </a:gradFill>
              </a:defRPr>
            </a:lvl1pPr>
          </a:lstStyle>
          <a:p>
            <a:pPr lvl="0"/>
            <a:r>
              <a:rPr lang="ru-RU" dirty="0"/>
              <a:t>Заголовок слайда</a:t>
            </a:r>
          </a:p>
        </p:txBody>
      </p:sp>
      <p:sp>
        <p:nvSpPr>
          <p:cNvPr id="10" name="Holder 6">
            <a:extLst>
              <a:ext uri="{FF2B5EF4-FFF2-40B4-BE49-F238E27FC236}">
                <a16:creationId xmlns:a16="http://schemas.microsoft.com/office/drawing/2014/main" xmlns="" id="{D465A4DB-EA4E-A54D-8B96-381D9C7D2CA8}"/>
              </a:ext>
            </a:extLst>
          </p:cNvPr>
          <p:cNvSpPr txBox="1">
            <a:spLocks/>
          </p:cNvSpPr>
          <p:nvPr userDrawn="1"/>
        </p:nvSpPr>
        <p:spPr>
          <a:xfrm>
            <a:off x="8974037" y="6422168"/>
            <a:ext cx="280562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F15528-21DE-4FAA-801E-634DDDAF4B2B}" type="slidenum">
              <a:rPr lang="ru-RU" sz="1200" smtClean="0">
                <a:solidFill>
                  <a:srgbClr val="44D46F"/>
                </a:solidFill>
                <a:latin typeface="SB Sans Display" panose="020B0503040504020204" pitchFamily="34" charset="0"/>
                <a:cs typeface="SB Sans Display" panose="020B0503040504020204" pitchFamily="34" charset="0"/>
              </a:rPr>
              <a:pPr/>
              <a:t>‹#›</a:t>
            </a:fld>
            <a:endParaRPr lang="ru-RU" sz="1200" dirty="0">
              <a:solidFill>
                <a:srgbClr val="44D46F"/>
              </a:solidFill>
              <a:latin typeface="SB Sans Display" panose="020B0503040504020204" pitchFamily="34" charset="0"/>
              <a:cs typeface="SB Sans Display" panose="020B0503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0297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1.vml"/><Relationship Id="rId1" Type="http://schemas.openxmlformats.org/officeDocument/2006/relationships/theme" Target="../theme/theme1.xml"/><Relationship Id="rId5" Type="http://schemas.openxmlformats.org/officeDocument/2006/relationships/image" Target="NULL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.xml"/><Relationship Id="rId6" Type="http://schemas.openxmlformats.org/officeDocument/2006/relationships/image" Target="NULL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3.v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2.xml"/><Relationship Id="rId6" Type="http://schemas.openxmlformats.org/officeDocument/2006/relationships/image" Target="NULL"/><Relationship Id="rId5" Type="http://schemas.openxmlformats.org/officeDocument/2006/relationships/oleObject" Target="../embeddings/oleObject3.bin"/><Relationship Id="rId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4.v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.xml"/><Relationship Id="rId6" Type="http://schemas.openxmlformats.org/officeDocument/2006/relationships/image" Target="NULL"/><Relationship Id="rId5" Type="http://schemas.openxmlformats.org/officeDocument/2006/relationships/oleObject" Target="../embeddings/oleObject4.bin"/><Relationship Id="rId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200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0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00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Text 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1581" y="1990675"/>
            <a:ext cx="11461577" cy="1738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5997" tIns="35997" rIns="35997" bIns="35997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0" name="On-page tracker" hidden="1"/>
          <p:cNvSpPr>
            <a:spLocks noChangeArrowheads="1"/>
          </p:cNvSpPr>
          <p:nvPr/>
        </p:nvSpPr>
        <p:spPr bwMode="auto">
          <a:xfrm>
            <a:off x="161994" y="27539"/>
            <a:ext cx="1033937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215584" fontAlgn="base">
              <a:spcBef>
                <a:spcPct val="0"/>
              </a:spcBef>
              <a:spcAft>
                <a:spcPct val="0"/>
              </a:spcAft>
            </a:pPr>
            <a:r>
              <a:rPr lang="ru-RU" sz="1867" dirty="0">
                <a:solidFill>
                  <a:srgbClr val="808080"/>
                </a:solidFill>
                <a:latin typeface="Century Gothic"/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/>
        </p:nvSpPr>
        <p:spPr bwMode="auto">
          <a:xfrm>
            <a:off x="162035" y="860453"/>
            <a:ext cx="11725484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133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12" y="992974"/>
            <a:ext cx="5801189" cy="675436"/>
            <a:chOff x="915" y="613"/>
            <a:chExt cx="2686" cy="41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21558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2133" b="1" dirty="0">
                  <a:solidFill>
                    <a:srgbClr val="000000"/>
                  </a:solidFill>
                  <a:latin typeface="Century Gothic"/>
                </a:rPr>
                <a:t>Title</a:t>
              </a:r>
            </a:p>
            <a:p>
              <a:pPr defTabSz="121558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2133" dirty="0">
                  <a:solidFill>
                    <a:srgbClr val="808080"/>
                  </a:solidFill>
                  <a:latin typeface="Century Gothic"/>
                </a:rPr>
                <a:t>Unit of measure</a:t>
              </a: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11753155" y="6597664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1215584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333" smtClean="0">
                <a:solidFill>
                  <a:srgbClr val="FFFFFF">
                    <a:lumMod val="50000"/>
                  </a:srgbClr>
                </a:solidFill>
                <a:latin typeface="Century Gothic"/>
              </a:rPr>
              <a:pPr algn="ctr" defTabSz="121558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333" dirty="0">
              <a:solidFill>
                <a:srgbClr val="FFFFFF">
                  <a:lumMod val="50000"/>
                </a:srgbClr>
              </a:solidFill>
              <a:latin typeface="Century Gothic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6331" y="213953"/>
            <a:ext cx="1604136" cy="422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99310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1188080" rtl="0" eaLnBrk="1" fontAlgn="base" hangingPunct="1">
        <a:spcBef>
          <a:spcPct val="0"/>
        </a:spcBef>
        <a:spcAft>
          <a:spcPct val="0"/>
        </a:spcAft>
        <a:tabLst>
          <a:tab pos="473943" algn="l"/>
        </a:tabLst>
        <a:defRPr sz="2533" b="1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  <a:lvl2pPr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6610"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3354"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0005"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26697"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880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2133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57020" indent="-254906" algn="l" defTabSz="118808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2133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606610" indent="-347622" algn="l" defTabSz="118808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2133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815242" indent="-206486" algn="l" defTabSz="118808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2133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94986" indent="-172750" algn="l" defTabSz="118808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2133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4986" indent="-172750" algn="l" defTabSz="11880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6pPr>
      <a:lvl7pPr marL="994986" indent="-172750" algn="l" defTabSz="11880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7pPr>
      <a:lvl8pPr marL="994986" indent="-172750" algn="l" defTabSz="11880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8pPr>
      <a:lvl9pPr marL="994986" indent="-172750" algn="l" defTabSz="11880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6610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3354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0005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26697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33313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39968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46656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53317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23373729"/>
              </p:ext>
            </p:extLst>
          </p:nvPr>
        </p:nvGraphicFramePr>
        <p:xfrm>
          <a:off x="2200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58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00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Text 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1580" y="1990675"/>
            <a:ext cx="11461577" cy="1738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5998" tIns="35998" rIns="35998" bIns="35998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0" name="On-page tracker" hidden="1"/>
          <p:cNvSpPr>
            <a:spLocks noChangeArrowheads="1"/>
          </p:cNvSpPr>
          <p:nvPr/>
        </p:nvSpPr>
        <p:spPr bwMode="auto">
          <a:xfrm>
            <a:off x="161994" y="27539"/>
            <a:ext cx="1033937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215614" fontAlgn="base">
              <a:spcBef>
                <a:spcPct val="0"/>
              </a:spcBef>
              <a:spcAft>
                <a:spcPct val="0"/>
              </a:spcAft>
            </a:pPr>
            <a:r>
              <a:rPr lang="ru-RU" sz="1867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/>
        </p:nvSpPr>
        <p:spPr bwMode="auto">
          <a:xfrm>
            <a:off x="162035" y="860453"/>
            <a:ext cx="11725484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133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12" y="992974"/>
            <a:ext cx="5801189" cy="675436"/>
            <a:chOff x="915" y="613"/>
            <a:chExt cx="2686" cy="41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21561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2133" b="1" dirty="0">
                  <a:solidFill>
                    <a:srgbClr val="000000"/>
                  </a:solidFill>
                </a:rPr>
                <a:t>Title</a:t>
              </a:r>
            </a:p>
            <a:p>
              <a:pPr defTabSz="121561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2133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11753155" y="6597664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1215614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333" smtClean="0">
                <a:solidFill>
                  <a:srgbClr val="FFFFFF">
                    <a:lumMod val="50000"/>
                  </a:srgbClr>
                </a:solidFill>
              </a:rPr>
              <a:pPr algn="ctr" defTabSz="121561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333" dirty="0">
              <a:solidFill>
                <a:srgbClr val="FFFFFF">
                  <a:lumMod val="50000"/>
                </a:srgbClr>
              </a:solidFill>
            </a:endParaRPr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6331" y="213953"/>
            <a:ext cx="1604136" cy="422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879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8" r:id="rId1"/>
  </p:sldLayoutIdLst>
  <p:hf hdr="0" ftr="0" dt="0"/>
  <p:txStyles>
    <p:titleStyle>
      <a:lvl1pPr algn="l" defTabSz="1188109" rtl="0" eaLnBrk="1" fontAlgn="base" hangingPunct="1">
        <a:spcBef>
          <a:spcPct val="0"/>
        </a:spcBef>
        <a:spcAft>
          <a:spcPct val="0"/>
        </a:spcAft>
        <a:tabLst>
          <a:tab pos="473955" algn="l"/>
        </a:tabLst>
        <a:defRPr sz="2533" b="1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  <a:lvl2pPr algn="l" defTabSz="1188109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88109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88109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88109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6625" algn="l" defTabSz="1188109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3384" algn="l" defTabSz="1188109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0050" algn="l" defTabSz="1188109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26757" algn="l" defTabSz="1188109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8810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2133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57026" indent="-254912" algn="l" defTabSz="118810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2133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606625" indent="-347630" algn="l" defTabSz="118810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2133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815262" indent="-206490" algn="l" defTabSz="118810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2133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95010" indent="-172754" algn="l" defTabSz="1188109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2133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5010" indent="-172754" algn="l" defTabSz="11881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6pPr>
      <a:lvl7pPr marL="995010" indent="-172754" algn="l" defTabSz="11881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7pPr>
      <a:lvl8pPr marL="995010" indent="-172754" algn="l" defTabSz="11881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8pPr>
      <a:lvl9pPr marL="995010" indent="-172754" algn="l" defTabSz="118810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338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6625" algn="l" defTabSz="121338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3384" algn="l" defTabSz="121338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0050" algn="l" defTabSz="121338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26757" algn="l" defTabSz="121338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33389" algn="l" defTabSz="121338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40058" algn="l" defTabSz="121338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46762" algn="l" defTabSz="121338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53439" algn="l" defTabSz="121338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200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6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00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Text 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1581" y="1990675"/>
            <a:ext cx="11461577" cy="1738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5997" tIns="35997" rIns="35997" bIns="35997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0" name="On-page tracker" hidden="1"/>
          <p:cNvSpPr>
            <a:spLocks noChangeArrowheads="1"/>
          </p:cNvSpPr>
          <p:nvPr/>
        </p:nvSpPr>
        <p:spPr bwMode="auto">
          <a:xfrm>
            <a:off x="161994" y="27539"/>
            <a:ext cx="1033937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215584" fontAlgn="base">
              <a:spcBef>
                <a:spcPct val="0"/>
              </a:spcBef>
              <a:spcAft>
                <a:spcPct val="0"/>
              </a:spcAft>
            </a:pPr>
            <a:r>
              <a:rPr lang="ru-RU" sz="1867" dirty="0">
                <a:solidFill>
                  <a:srgbClr val="808080"/>
                </a:solidFill>
                <a:latin typeface="Century Gothic"/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/>
        </p:nvSpPr>
        <p:spPr bwMode="auto">
          <a:xfrm>
            <a:off x="162035" y="860453"/>
            <a:ext cx="11725484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133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12" y="992974"/>
            <a:ext cx="5801189" cy="675436"/>
            <a:chOff x="915" y="613"/>
            <a:chExt cx="2686" cy="41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21558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2133" b="1" dirty="0">
                  <a:solidFill>
                    <a:srgbClr val="000000"/>
                  </a:solidFill>
                  <a:latin typeface="Century Gothic"/>
                </a:rPr>
                <a:t>Title</a:t>
              </a:r>
            </a:p>
            <a:p>
              <a:pPr defTabSz="121558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2133" dirty="0">
                  <a:solidFill>
                    <a:srgbClr val="808080"/>
                  </a:solidFill>
                  <a:latin typeface="Century Gothic"/>
                </a:rPr>
                <a:t>Unit of measure</a:t>
              </a: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11753155" y="6597664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1215584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333" smtClean="0">
                <a:solidFill>
                  <a:srgbClr val="FFFFFF">
                    <a:lumMod val="50000"/>
                  </a:srgbClr>
                </a:solidFill>
                <a:latin typeface="Century Gothic"/>
              </a:rPr>
              <a:pPr algn="ctr" defTabSz="121558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333" dirty="0">
              <a:solidFill>
                <a:srgbClr val="FFFFFF">
                  <a:lumMod val="50000"/>
                </a:srgbClr>
              </a:solidFill>
              <a:latin typeface="Century Gothic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6331" y="213953"/>
            <a:ext cx="1604136" cy="422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8538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</p:sldLayoutIdLst>
  <p:hf hdr="0" ftr="0" dt="0"/>
  <p:txStyles>
    <p:titleStyle>
      <a:lvl1pPr algn="l" defTabSz="1188080" rtl="0" eaLnBrk="1" fontAlgn="base" hangingPunct="1">
        <a:spcBef>
          <a:spcPct val="0"/>
        </a:spcBef>
        <a:spcAft>
          <a:spcPct val="0"/>
        </a:spcAft>
        <a:tabLst>
          <a:tab pos="473943" algn="l"/>
        </a:tabLst>
        <a:defRPr sz="2533" b="1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  <a:lvl2pPr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6610"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3354"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0005"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26697"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880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2133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57020" indent="-254906" algn="l" defTabSz="118808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2133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606610" indent="-347622" algn="l" defTabSz="118808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2133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815242" indent="-206486" algn="l" defTabSz="118808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2133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94986" indent="-172750" algn="l" defTabSz="118808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2133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4986" indent="-172750" algn="l" defTabSz="11880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6pPr>
      <a:lvl7pPr marL="994986" indent="-172750" algn="l" defTabSz="11880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7pPr>
      <a:lvl8pPr marL="994986" indent="-172750" algn="l" defTabSz="11880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8pPr>
      <a:lvl9pPr marL="994986" indent="-172750" algn="l" defTabSz="11880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6610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3354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0005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26697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33313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39968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46656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53317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200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2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2" name="Объект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00" y="1621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Text 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1581" y="1990675"/>
            <a:ext cx="11461577" cy="1738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5997" tIns="35997" rIns="35997" bIns="35997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0" name="On-page tracker" hidden="1"/>
          <p:cNvSpPr>
            <a:spLocks noChangeArrowheads="1"/>
          </p:cNvSpPr>
          <p:nvPr/>
        </p:nvSpPr>
        <p:spPr bwMode="auto">
          <a:xfrm>
            <a:off x="161994" y="27539"/>
            <a:ext cx="1033937" cy="2873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1215584" fontAlgn="base">
              <a:spcBef>
                <a:spcPct val="0"/>
              </a:spcBef>
              <a:spcAft>
                <a:spcPct val="0"/>
              </a:spcAft>
            </a:pPr>
            <a:r>
              <a:rPr lang="ru-RU" sz="1867" dirty="0">
                <a:solidFill>
                  <a:srgbClr val="808080"/>
                </a:solidFill>
                <a:latin typeface="Century Gothic"/>
              </a:rPr>
              <a:t>TRACKER</a:t>
            </a:r>
          </a:p>
        </p:txBody>
      </p:sp>
      <p:sp>
        <p:nvSpPr>
          <p:cNvPr id="11" name="Unit of measure" hidden="1"/>
          <p:cNvSpPr txBox="1">
            <a:spLocks noChangeArrowheads="1"/>
          </p:cNvSpPr>
          <p:nvPr/>
        </p:nvSpPr>
        <p:spPr bwMode="auto">
          <a:xfrm>
            <a:off x="162035" y="860453"/>
            <a:ext cx="11725484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2133" dirty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12" y="992974"/>
            <a:ext cx="5801189" cy="675436"/>
            <a:chOff x="915" y="613"/>
            <a:chExt cx="2686" cy="417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13"/>
              <a:ext cx="2686" cy="41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121558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2133" b="1" dirty="0">
                  <a:solidFill>
                    <a:srgbClr val="000000"/>
                  </a:solidFill>
                  <a:latin typeface="Century Gothic"/>
                </a:rPr>
                <a:t>Title</a:t>
              </a:r>
            </a:p>
            <a:p>
              <a:pPr defTabSz="1215584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2133" dirty="0">
                  <a:solidFill>
                    <a:srgbClr val="808080"/>
                  </a:solidFill>
                  <a:latin typeface="Century Gothic"/>
                </a:rPr>
                <a:t>Unit of measure</a:t>
              </a:r>
            </a:p>
          </p:txBody>
        </p:sp>
      </p:grpSp>
      <p:sp>
        <p:nvSpPr>
          <p:cNvPr id="20" name="Slide Number"/>
          <p:cNvSpPr txBox="1">
            <a:spLocks/>
          </p:cNvSpPr>
          <p:nvPr/>
        </p:nvSpPr>
        <p:spPr>
          <a:xfrm>
            <a:off x="11753155" y="6597664"/>
            <a:ext cx="284012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defTabSz="1215584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333" smtClean="0">
                <a:solidFill>
                  <a:srgbClr val="FFFFFF">
                    <a:lumMod val="50000"/>
                  </a:srgbClr>
                </a:solidFill>
                <a:latin typeface="Century Gothic"/>
              </a:rPr>
              <a:pPr algn="ctr" defTabSz="1215584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333" dirty="0">
              <a:solidFill>
                <a:srgbClr val="FFFFFF">
                  <a:lumMod val="50000"/>
                </a:srgbClr>
              </a:solidFill>
              <a:latin typeface="Century Gothic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36331" y="213953"/>
            <a:ext cx="1604136" cy="422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5954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</p:sldLayoutIdLst>
  <p:hf hdr="0" ftr="0" dt="0"/>
  <p:txStyles>
    <p:titleStyle>
      <a:lvl1pPr algn="l" defTabSz="1188080" rtl="0" eaLnBrk="1" fontAlgn="base" hangingPunct="1">
        <a:spcBef>
          <a:spcPct val="0"/>
        </a:spcBef>
        <a:spcAft>
          <a:spcPct val="0"/>
        </a:spcAft>
        <a:tabLst>
          <a:tab pos="473943" algn="l"/>
        </a:tabLst>
        <a:defRPr sz="2533" b="1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  <a:lvl2pPr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2pPr>
      <a:lvl3pPr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3pPr>
      <a:lvl4pPr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4pPr>
      <a:lvl5pPr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5pPr>
      <a:lvl6pPr marL="606610"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6pPr>
      <a:lvl7pPr marL="1213354"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7pPr>
      <a:lvl8pPr marL="1820005"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8pPr>
      <a:lvl9pPr marL="2426697" algn="l" defTabSz="1188080" rtl="0" eaLnBrk="1" fontAlgn="base" hangingPunct="1">
        <a:spcBef>
          <a:spcPct val="0"/>
        </a:spcBef>
        <a:spcAft>
          <a:spcPct val="0"/>
        </a:spcAft>
        <a:defRPr sz="2533" b="1">
          <a:solidFill>
            <a:schemeClr val="tx2"/>
          </a:solidFill>
          <a:latin typeface="Arial" charset="0"/>
        </a:defRPr>
      </a:lvl9pPr>
    </p:titleStyle>
    <p:bodyStyle>
      <a:lvl1pPr marL="0" indent="0" algn="l" defTabSz="11880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2133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257020" indent="-254906" algn="l" defTabSz="118808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5000"/>
        <a:buFont typeface="Arial" charset="0"/>
        <a:buChar char="▪"/>
        <a:defRPr sz="2133">
          <a:solidFill>
            <a:schemeClr val="tx1">
              <a:lumMod val="65000"/>
              <a:lumOff val="35000"/>
            </a:schemeClr>
          </a:solidFill>
          <a:latin typeface="+mn-lt"/>
        </a:defRPr>
      </a:lvl2pPr>
      <a:lvl3pPr marL="606610" indent="-347622" algn="l" defTabSz="118808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–"/>
        <a:defRPr sz="2133">
          <a:solidFill>
            <a:schemeClr val="tx1">
              <a:lumMod val="65000"/>
              <a:lumOff val="35000"/>
            </a:schemeClr>
          </a:solidFill>
          <a:latin typeface="+mn-lt"/>
        </a:defRPr>
      </a:lvl3pPr>
      <a:lvl4pPr marL="815242" indent="-206486" algn="l" defTabSz="118808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120000"/>
        <a:buFont typeface="Arial" charset="0"/>
        <a:buChar char="▫"/>
        <a:defRPr sz="2133">
          <a:solidFill>
            <a:schemeClr val="tx1">
              <a:lumMod val="65000"/>
              <a:lumOff val="35000"/>
            </a:schemeClr>
          </a:solidFill>
          <a:latin typeface="+mn-lt"/>
        </a:defRPr>
      </a:lvl4pPr>
      <a:lvl5pPr marL="994986" indent="-172750" algn="l" defTabSz="1188080" rtl="0" eaLnBrk="1" fontAlgn="base" hangingPunct="1">
        <a:spcBef>
          <a:spcPct val="0"/>
        </a:spcBef>
        <a:spcAft>
          <a:spcPct val="0"/>
        </a:spcAft>
        <a:buClr>
          <a:schemeClr val="tx1"/>
        </a:buClr>
        <a:buSzPct val="89000"/>
        <a:buFont typeface="Arial" charset="0"/>
        <a:buChar char="-"/>
        <a:defRPr sz="2133">
          <a:solidFill>
            <a:schemeClr val="tx1">
              <a:lumMod val="65000"/>
              <a:lumOff val="35000"/>
            </a:schemeClr>
          </a:solidFill>
          <a:latin typeface="+mn-lt"/>
        </a:defRPr>
      </a:lvl5pPr>
      <a:lvl6pPr marL="994986" indent="-172750" algn="l" defTabSz="11880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6pPr>
      <a:lvl7pPr marL="994986" indent="-172750" algn="l" defTabSz="11880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7pPr>
      <a:lvl8pPr marL="994986" indent="-172750" algn="l" defTabSz="11880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8pPr>
      <a:lvl9pPr marL="994986" indent="-172750" algn="l" defTabSz="11880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3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6610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3354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0005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26697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33313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39968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46656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53317" algn="l" defTabSz="1213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15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16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8.vml"/><Relationship Id="rId4" Type="http://schemas.openxmlformats.org/officeDocument/2006/relationships/image" Target="../media/image17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18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62085ADF-AF17-5CA0-6037-4206AC63BD0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9" name="Слайд think-cell" r:id="rId4" imgW="306" imgH="306" progId="TCLayout.ActiveDocument.1">
                  <p:embed/>
                </p:oleObj>
              </mc:Choice>
              <mc:Fallback>
                <p:oleObj name="Слайд think-cell" r:id="rId4" imgW="306" imgH="306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xmlns="" id="{62085ADF-AF17-5CA0-6037-4206AC63BD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B70AC7C8-E70B-1B26-81A9-C260FECD7957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911013" y="6575425"/>
            <a:ext cx="280987" cy="138113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430864" rtl="0" eaLnBrk="1" fontAlgn="base" latinLnBrk="0" hangingPunct="1">
              <a:lnSpc>
                <a:spcPct val="100000"/>
              </a:lnSpc>
              <a:spcBef>
                <a:spcPts val="48"/>
              </a:spcBef>
              <a:spcAft>
                <a:spcPct val="0"/>
              </a:spcAft>
              <a:buClr>
                <a:srgbClr val="07E897"/>
              </a:buClr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000" b="0" i="0" u="none" strike="noStrike" kern="1200" cap="none" spc="0" normalizeH="0" baseline="0" noProof="0" smtClean="0">
                <a:ln>
                  <a:noFill/>
                </a:ln>
                <a:solidFill>
                  <a:srgbClr val="EEF3FF">
                    <a:alpha val="50000"/>
                  </a:srgbClr>
                </a:solidFill>
                <a:effectLst/>
                <a:uLnTx/>
                <a:uFillTx/>
                <a:latin typeface="SB Sans Text" panose="020B0503040504020204" pitchFamily="34" charset="-52"/>
                <a:cs typeface="SB Sans Text" panose="020B0503040504020204" pitchFamily="34" charset="-52"/>
              </a:rPr>
              <a:pPr marL="0" marR="0" lvl="0" indent="0" algn="ctr" defTabSz="430864" rtl="0" eaLnBrk="1" fontAlgn="base" latinLnBrk="0" hangingPunct="1">
                <a:lnSpc>
                  <a:spcPct val="100000"/>
                </a:lnSpc>
                <a:spcBef>
                  <a:spcPts val="48"/>
                </a:spcBef>
                <a:spcAft>
                  <a:spcPct val="0"/>
                </a:spcAft>
                <a:buClr>
                  <a:srgbClr val="07E897"/>
                </a:buClr>
                <a:buSzTx/>
                <a:buFontTx/>
                <a:buNone/>
                <a:tabLst/>
                <a:defRPr/>
              </a:pPr>
              <a:t>1</a:t>
            </a:fld>
            <a:endParaRPr kumimoji="0" lang="ru-RU" sz="1000" b="0" i="0" u="none" strike="noStrike" kern="1200" cap="none" spc="0" normalizeH="0" baseline="0" noProof="0">
              <a:ln>
                <a:noFill/>
              </a:ln>
              <a:solidFill>
                <a:srgbClr val="EEF3FF">
                  <a:alpha val="50000"/>
                </a:srgbClr>
              </a:solidFill>
              <a:effectLst/>
              <a:uLnTx/>
              <a:uFillTx/>
              <a:latin typeface="SB Sans Text" panose="020B0503040504020204" pitchFamily="34" charset="-52"/>
              <a:cs typeface="SB Sans Text" panose="020B0503040504020204" pitchFamily="34" charset="-52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7B4DE7B1-42AB-174F-9292-292478F098F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65" t="1673" r="21023" b="1107"/>
          <a:stretch/>
        </p:blipFill>
        <p:spPr>
          <a:xfrm>
            <a:off x="7536160" y="1260034"/>
            <a:ext cx="4902348" cy="4654563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263352" y="2924944"/>
            <a:ext cx="7632848" cy="113877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ru-RU" sz="4800" b="1" spc="-160" dirty="0">
                <a:solidFill>
                  <a:srgbClr val="006368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Бизнес. Стартуем вместе</a:t>
            </a:r>
          </a:p>
          <a:p>
            <a:r>
              <a:rPr lang="ru-RU" sz="2000" b="1" dirty="0" smtClean="0">
                <a:solidFill>
                  <a:schemeClr val="tx2"/>
                </a:solidFill>
                <a:latin typeface="SB Sans Text Heavy" panose="020B0903040504020204" pitchFamily="34" charset="-52"/>
                <a:cs typeface="SB Sans Text Heavy" panose="020B0903040504020204" pitchFamily="34" charset="-52"/>
              </a:rPr>
              <a:t>30 августа – 10 ноября  2023 г. </a:t>
            </a:r>
            <a:endParaRPr lang="ru-RU" sz="2000" b="1" dirty="0">
              <a:solidFill>
                <a:schemeClr val="tx2"/>
              </a:solidFill>
              <a:latin typeface="SB Sans Text Heavy" panose="020B0903040504020204" pitchFamily="34" charset="-52"/>
              <a:cs typeface="SB Sans Text Heavy" panose="020B0903040504020204" pitchFamily="34" charset="-52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9536" y="154593"/>
            <a:ext cx="1406664" cy="101959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2229" y="87433"/>
            <a:ext cx="1227990" cy="115391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496924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737305">
            <a:off x="3000579" y="-578423"/>
            <a:ext cx="6146683" cy="8327915"/>
          </a:xfrm>
          <a:prstGeom prst="rect">
            <a:avLst/>
          </a:prstGeom>
        </p:spPr>
      </p:pic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304800" y="446088"/>
            <a:ext cx="10363200" cy="442029"/>
          </a:xfrm>
        </p:spPr>
        <p:txBody>
          <a:bodyPr/>
          <a:lstStyle/>
          <a:p>
            <a:r>
              <a:rPr lang="ru-RU" dirty="0" smtClean="0"/>
              <a:t>Миссия проекта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855640" y="1988840"/>
            <a:ext cx="6456040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ctr">
              <a:buFont typeface="Wingdings" panose="05000000000000000000" pitchFamily="2" charset="2"/>
              <a:buChar char="ü"/>
            </a:pPr>
            <a:r>
              <a:rPr lang="ru-RU" sz="3200" b="1" spc="-160" dirty="0">
                <a:solidFill>
                  <a:srgbClr val="006368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Мы создаем доступную среду для людей</a:t>
            </a:r>
          </a:p>
          <a:p>
            <a:pPr algn="ctr"/>
            <a:r>
              <a:rPr lang="ru-RU" sz="3200" b="1" spc="-160" dirty="0">
                <a:solidFill>
                  <a:srgbClr val="006368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с инвалидность в КИБ</a:t>
            </a:r>
          </a:p>
          <a:p>
            <a:pPr algn="ctr"/>
            <a:endParaRPr lang="ru-RU" sz="3200" b="1" spc="-160" dirty="0">
              <a:solidFill>
                <a:srgbClr val="006368"/>
              </a:solidFill>
              <a:latin typeface="SB Sans Display Semibold" panose="020B0503040504020204" pitchFamily="34" charset="0"/>
              <a:cs typeface="SB Sans Display Semibold" panose="020B0503040504020204" pitchFamily="34" charset="0"/>
            </a:endParaRPr>
          </a:p>
          <a:p>
            <a:pPr marL="457200" indent="-457200" algn="ctr">
              <a:buFont typeface="Wingdings" panose="05000000000000000000" pitchFamily="2" charset="2"/>
              <a:buChar char="ü"/>
            </a:pPr>
            <a:r>
              <a:rPr lang="ru-RU" sz="3200" b="1" spc="-160" dirty="0">
                <a:solidFill>
                  <a:srgbClr val="006368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Мы помогаем людям</a:t>
            </a:r>
          </a:p>
          <a:p>
            <a:pPr algn="ctr"/>
            <a:r>
              <a:rPr lang="ru-RU" sz="3200" b="1" spc="-160" dirty="0">
                <a:solidFill>
                  <a:srgbClr val="006368"/>
                </a:solidFill>
                <a:latin typeface="SB Sans Display Semibold" panose="020B0503040504020204" pitchFamily="34" charset="0"/>
                <a:cs typeface="SB Sans Display Semibold" panose="020B0503040504020204" pitchFamily="34" charset="0"/>
              </a:rPr>
              <a:t>с инвалидностью создать свой бизнес</a:t>
            </a:r>
          </a:p>
        </p:txBody>
      </p:sp>
    </p:spTree>
    <p:extLst>
      <p:ext uri="{BB962C8B-B14F-4D97-AF65-F5344CB8AC3E}">
        <p14:creationId xmlns:p14="http://schemas.microsoft.com/office/powerpoint/2010/main" val="1179591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337264" y="176516"/>
            <a:ext cx="10363200" cy="442029"/>
          </a:xfrm>
        </p:spPr>
        <p:txBody>
          <a:bodyPr/>
          <a:lstStyle/>
          <a:p>
            <a:r>
              <a:rPr lang="ru-RU" dirty="0" smtClean="0"/>
              <a:t>Цели проекта:</a:t>
            </a: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7905" y="1710384"/>
            <a:ext cx="3245559" cy="3129231"/>
          </a:xfrm>
          <a:prstGeom prst="rect">
            <a:avLst/>
          </a:prstGeom>
        </p:spPr>
      </p:pic>
      <p:sp>
        <p:nvSpPr>
          <p:cNvPr id="4" name="Шестиугольник 3"/>
          <p:cNvSpPr/>
          <p:nvPr/>
        </p:nvSpPr>
        <p:spPr>
          <a:xfrm>
            <a:off x="4113875" y="1511167"/>
            <a:ext cx="4106099" cy="3561348"/>
          </a:xfrm>
          <a:prstGeom prst="hexagon">
            <a:avLst/>
          </a:prstGeom>
          <a:noFill/>
          <a:ln>
            <a:solidFill>
              <a:srgbClr val="92D050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7905" y="1710384"/>
            <a:ext cx="3245559" cy="312923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grpSp>
        <p:nvGrpSpPr>
          <p:cNvPr id="6" name="Group 52">
            <a:extLst>
              <a:ext uri="{FF2B5EF4-FFF2-40B4-BE49-F238E27FC236}">
                <a16:creationId xmlns:a16="http://schemas.microsoft.com/office/drawing/2014/main" xmlns="" id="{296946A3-84A6-4159-8FBA-19C3245A39D4}"/>
              </a:ext>
            </a:extLst>
          </p:cNvPr>
          <p:cNvGrpSpPr/>
          <p:nvPr/>
        </p:nvGrpSpPr>
        <p:grpSpPr>
          <a:xfrm>
            <a:off x="4272136" y="749274"/>
            <a:ext cx="1268951" cy="1251331"/>
            <a:chOff x="5562600" y="4450327"/>
            <a:chExt cx="1066800" cy="1066798"/>
          </a:xfrm>
          <a:solidFill>
            <a:srgbClr val="F6FAC2"/>
          </a:solidFill>
        </p:grpSpPr>
        <p:sp>
          <p:nvSpPr>
            <p:cNvPr id="7" name="Oval 53">
              <a:extLst>
                <a:ext uri="{FF2B5EF4-FFF2-40B4-BE49-F238E27FC236}">
                  <a16:creationId xmlns:a16="http://schemas.microsoft.com/office/drawing/2014/main" xmlns="" id="{E89BCA2F-5EC8-4AA0-9EB0-1C1204CAD664}"/>
                </a:ext>
              </a:extLst>
            </p:cNvPr>
            <p:cNvSpPr/>
            <p:nvPr/>
          </p:nvSpPr>
          <p:spPr>
            <a:xfrm>
              <a:off x="5562600" y="4450327"/>
              <a:ext cx="1066800" cy="106679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grpSp>
          <p:nvGrpSpPr>
            <p:cNvPr id="8" name="Group 54">
              <a:extLst>
                <a:ext uri="{FF2B5EF4-FFF2-40B4-BE49-F238E27FC236}">
                  <a16:creationId xmlns:a16="http://schemas.microsoft.com/office/drawing/2014/main" xmlns="" id="{A014EF00-A86E-4E18-9F26-529E98EA908E}"/>
                </a:ext>
              </a:extLst>
            </p:cNvPr>
            <p:cNvGrpSpPr/>
            <p:nvPr/>
          </p:nvGrpSpPr>
          <p:grpSpPr>
            <a:xfrm>
              <a:off x="5607846" y="4495572"/>
              <a:ext cx="976310" cy="976308"/>
              <a:chOff x="6596593" y="713628"/>
              <a:chExt cx="1759609" cy="1759609"/>
            </a:xfrm>
            <a:grpFill/>
          </p:grpSpPr>
          <p:sp>
            <p:nvSpPr>
              <p:cNvPr id="9" name="Oval 55">
                <a:extLst>
                  <a:ext uri="{FF2B5EF4-FFF2-40B4-BE49-F238E27FC236}">
                    <a16:creationId xmlns:a16="http://schemas.microsoft.com/office/drawing/2014/main" xmlns="" id="{90C284B5-F239-4E6D-9C5E-6896CFAAF1D3}"/>
                  </a:ext>
                </a:extLst>
              </p:cNvPr>
              <p:cNvSpPr/>
              <p:nvPr/>
            </p:nvSpPr>
            <p:spPr>
              <a:xfrm>
                <a:off x="6596593" y="713628"/>
                <a:ext cx="1759609" cy="1759609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10" name="Oval 56">
                <a:extLst>
                  <a:ext uri="{FF2B5EF4-FFF2-40B4-BE49-F238E27FC236}">
                    <a16:creationId xmlns:a16="http://schemas.microsoft.com/office/drawing/2014/main" xmlns="" id="{EDB113BA-A266-4F26-A54A-3ECD01C38D31}"/>
                  </a:ext>
                </a:extLst>
              </p:cNvPr>
              <p:cNvSpPr/>
              <p:nvPr/>
            </p:nvSpPr>
            <p:spPr>
              <a:xfrm>
                <a:off x="6700878" y="817913"/>
                <a:ext cx="1551041" cy="155104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  <p:sp>
            <p:nvSpPr>
              <p:cNvPr id="11" name="Oval 57">
                <a:extLst>
                  <a:ext uri="{FF2B5EF4-FFF2-40B4-BE49-F238E27FC236}">
                    <a16:creationId xmlns:a16="http://schemas.microsoft.com/office/drawing/2014/main" xmlns="" id="{878D0E71-E4DF-41F4-87E8-43C82823A0AE}"/>
                  </a:ext>
                </a:extLst>
              </p:cNvPr>
              <p:cNvSpPr/>
              <p:nvPr/>
            </p:nvSpPr>
            <p:spPr>
              <a:xfrm>
                <a:off x="6818353" y="935388"/>
                <a:ext cx="1316092" cy="1316092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algn="ctr"/>
                <a:endParaRPr lang="en-US" sz="2000" b="1" dirty="0">
                  <a:solidFill>
                    <a:schemeClr val="tx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</p:grpSp>
      <p:grpSp>
        <p:nvGrpSpPr>
          <p:cNvPr id="12" name="Group 52">
            <a:extLst>
              <a:ext uri="{FF2B5EF4-FFF2-40B4-BE49-F238E27FC236}">
                <a16:creationId xmlns:a16="http://schemas.microsoft.com/office/drawing/2014/main" xmlns="" id="{296946A3-84A6-4159-8FBA-19C3245A39D4}"/>
              </a:ext>
            </a:extLst>
          </p:cNvPr>
          <p:cNvGrpSpPr/>
          <p:nvPr/>
        </p:nvGrpSpPr>
        <p:grpSpPr>
          <a:xfrm>
            <a:off x="6716367" y="777031"/>
            <a:ext cx="1268951" cy="1251331"/>
            <a:chOff x="5562600" y="4450327"/>
            <a:chExt cx="1066800" cy="1066798"/>
          </a:xfrm>
          <a:solidFill>
            <a:srgbClr val="F6FAC2"/>
          </a:solidFill>
        </p:grpSpPr>
        <p:sp>
          <p:nvSpPr>
            <p:cNvPr id="13" name="Oval 53">
              <a:extLst>
                <a:ext uri="{FF2B5EF4-FFF2-40B4-BE49-F238E27FC236}">
                  <a16:creationId xmlns:a16="http://schemas.microsoft.com/office/drawing/2014/main" xmlns="" id="{E89BCA2F-5EC8-4AA0-9EB0-1C1204CAD664}"/>
                </a:ext>
              </a:extLst>
            </p:cNvPr>
            <p:cNvSpPr/>
            <p:nvPr/>
          </p:nvSpPr>
          <p:spPr>
            <a:xfrm>
              <a:off x="5562600" y="4450327"/>
              <a:ext cx="1066800" cy="106679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sp>
          <p:nvSpPr>
            <p:cNvPr id="14" name="Oval 55">
              <a:extLst>
                <a:ext uri="{FF2B5EF4-FFF2-40B4-BE49-F238E27FC236}">
                  <a16:creationId xmlns:a16="http://schemas.microsoft.com/office/drawing/2014/main" xmlns="" id="{90C284B5-F239-4E6D-9C5E-6896CFAAF1D3}"/>
                </a:ext>
              </a:extLst>
            </p:cNvPr>
            <p:cNvSpPr/>
            <p:nvPr/>
          </p:nvSpPr>
          <p:spPr>
            <a:xfrm>
              <a:off x="5607846" y="4495572"/>
              <a:ext cx="976310" cy="97630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</p:grpSp>
      <p:grpSp>
        <p:nvGrpSpPr>
          <p:cNvPr id="15" name="Group 52">
            <a:extLst>
              <a:ext uri="{FF2B5EF4-FFF2-40B4-BE49-F238E27FC236}">
                <a16:creationId xmlns:a16="http://schemas.microsoft.com/office/drawing/2014/main" xmlns="" id="{296946A3-84A6-4159-8FBA-19C3245A39D4}"/>
              </a:ext>
            </a:extLst>
          </p:cNvPr>
          <p:cNvGrpSpPr/>
          <p:nvPr/>
        </p:nvGrpSpPr>
        <p:grpSpPr>
          <a:xfrm>
            <a:off x="3304576" y="2490044"/>
            <a:ext cx="1268951" cy="1251331"/>
            <a:chOff x="5562600" y="4450327"/>
            <a:chExt cx="1066800" cy="1066798"/>
          </a:xfrm>
          <a:solidFill>
            <a:srgbClr val="F6FAC2"/>
          </a:solidFill>
        </p:grpSpPr>
        <p:sp>
          <p:nvSpPr>
            <p:cNvPr id="16" name="Oval 53">
              <a:extLst>
                <a:ext uri="{FF2B5EF4-FFF2-40B4-BE49-F238E27FC236}">
                  <a16:creationId xmlns:a16="http://schemas.microsoft.com/office/drawing/2014/main" xmlns="" id="{E89BCA2F-5EC8-4AA0-9EB0-1C1204CAD664}"/>
                </a:ext>
              </a:extLst>
            </p:cNvPr>
            <p:cNvSpPr/>
            <p:nvPr/>
          </p:nvSpPr>
          <p:spPr>
            <a:xfrm>
              <a:off x="5562600" y="4450327"/>
              <a:ext cx="1066800" cy="106679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grpSp>
          <p:nvGrpSpPr>
            <p:cNvPr id="17" name="Group 54">
              <a:extLst>
                <a:ext uri="{FF2B5EF4-FFF2-40B4-BE49-F238E27FC236}">
                  <a16:creationId xmlns:a16="http://schemas.microsoft.com/office/drawing/2014/main" xmlns="" id="{A014EF00-A86E-4E18-9F26-529E98EA908E}"/>
                </a:ext>
              </a:extLst>
            </p:cNvPr>
            <p:cNvGrpSpPr/>
            <p:nvPr/>
          </p:nvGrpSpPr>
          <p:grpSpPr>
            <a:xfrm>
              <a:off x="5607846" y="4495572"/>
              <a:ext cx="976310" cy="976308"/>
              <a:chOff x="6596593" y="713628"/>
              <a:chExt cx="1759609" cy="1759609"/>
            </a:xfrm>
            <a:grpFill/>
          </p:grpSpPr>
          <p:sp>
            <p:nvSpPr>
              <p:cNvPr id="18" name="Oval 55">
                <a:extLst>
                  <a:ext uri="{FF2B5EF4-FFF2-40B4-BE49-F238E27FC236}">
                    <a16:creationId xmlns:a16="http://schemas.microsoft.com/office/drawing/2014/main" xmlns="" id="{90C284B5-F239-4E6D-9C5E-6896CFAAF1D3}"/>
                  </a:ext>
                </a:extLst>
              </p:cNvPr>
              <p:cNvSpPr/>
              <p:nvPr/>
            </p:nvSpPr>
            <p:spPr>
              <a:xfrm>
                <a:off x="6596593" y="713628"/>
                <a:ext cx="1759609" cy="1759609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19" name="Oval 56">
                <a:extLst>
                  <a:ext uri="{FF2B5EF4-FFF2-40B4-BE49-F238E27FC236}">
                    <a16:creationId xmlns:a16="http://schemas.microsoft.com/office/drawing/2014/main" xmlns="" id="{EDB113BA-A266-4F26-A54A-3ECD01C38D31}"/>
                  </a:ext>
                </a:extLst>
              </p:cNvPr>
              <p:cNvSpPr/>
              <p:nvPr/>
            </p:nvSpPr>
            <p:spPr>
              <a:xfrm>
                <a:off x="6700878" y="817913"/>
                <a:ext cx="1551041" cy="155104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</p:grpSp>
      <p:grpSp>
        <p:nvGrpSpPr>
          <p:cNvPr id="20" name="Group 52">
            <a:extLst>
              <a:ext uri="{FF2B5EF4-FFF2-40B4-BE49-F238E27FC236}">
                <a16:creationId xmlns:a16="http://schemas.microsoft.com/office/drawing/2014/main" xmlns="" id="{296946A3-84A6-4159-8FBA-19C3245A39D4}"/>
              </a:ext>
            </a:extLst>
          </p:cNvPr>
          <p:cNvGrpSpPr/>
          <p:nvPr/>
        </p:nvGrpSpPr>
        <p:grpSpPr>
          <a:xfrm>
            <a:off x="7928347" y="2728661"/>
            <a:ext cx="1268951" cy="1251331"/>
            <a:chOff x="5562600" y="4450327"/>
            <a:chExt cx="1066800" cy="1066798"/>
          </a:xfrm>
          <a:solidFill>
            <a:srgbClr val="F6FAC2"/>
          </a:solidFill>
        </p:grpSpPr>
        <p:sp>
          <p:nvSpPr>
            <p:cNvPr id="21" name="Oval 53">
              <a:extLst>
                <a:ext uri="{FF2B5EF4-FFF2-40B4-BE49-F238E27FC236}">
                  <a16:creationId xmlns:a16="http://schemas.microsoft.com/office/drawing/2014/main" xmlns="" id="{E89BCA2F-5EC8-4AA0-9EB0-1C1204CAD664}"/>
                </a:ext>
              </a:extLst>
            </p:cNvPr>
            <p:cNvSpPr/>
            <p:nvPr/>
          </p:nvSpPr>
          <p:spPr>
            <a:xfrm>
              <a:off x="5562600" y="4450327"/>
              <a:ext cx="1066800" cy="106679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grpSp>
          <p:nvGrpSpPr>
            <p:cNvPr id="22" name="Group 54">
              <a:extLst>
                <a:ext uri="{FF2B5EF4-FFF2-40B4-BE49-F238E27FC236}">
                  <a16:creationId xmlns:a16="http://schemas.microsoft.com/office/drawing/2014/main" xmlns="" id="{A014EF00-A86E-4E18-9F26-529E98EA908E}"/>
                </a:ext>
              </a:extLst>
            </p:cNvPr>
            <p:cNvGrpSpPr/>
            <p:nvPr/>
          </p:nvGrpSpPr>
          <p:grpSpPr>
            <a:xfrm>
              <a:off x="5607846" y="4495572"/>
              <a:ext cx="976310" cy="976308"/>
              <a:chOff x="6596593" y="713628"/>
              <a:chExt cx="1759609" cy="1759609"/>
            </a:xfrm>
            <a:grpFill/>
          </p:grpSpPr>
          <p:sp>
            <p:nvSpPr>
              <p:cNvPr id="23" name="Oval 55">
                <a:extLst>
                  <a:ext uri="{FF2B5EF4-FFF2-40B4-BE49-F238E27FC236}">
                    <a16:creationId xmlns:a16="http://schemas.microsoft.com/office/drawing/2014/main" xmlns="" id="{90C284B5-F239-4E6D-9C5E-6896CFAAF1D3}"/>
                  </a:ext>
                </a:extLst>
              </p:cNvPr>
              <p:cNvSpPr/>
              <p:nvPr/>
            </p:nvSpPr>
            <p:spPr>
              <a:xfrm>
                <a:off x="6596593" y="713628"/>
                <a:ext cx="1759609" cy="1759609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24" name="Oval 56">
                <a:extLst>
                  <a:ext uri="{FF2B5EF4-FFF2-40B4-BE49-F238E27FC236}">
                    <a16:creationId xmlns:a16="http://schemas.microsoft.com/office/drawing/2014/main" xmlns="" id="{EDB113BA-A266-4F26-A54A-3ECD01C38D31}"/>
                  </a:ext>
                </a:extLst>
              </p:cNvPr>
              <p:cNvSpPr/>
              <p:nvPr/>
            </p:nvSpPr>
            <p:spPr>
              <a:xfrm>
                <a:off x="6700878" y="817913"/>
                <a:ext cx="1551041" cy="155104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</p:grpSp>
      <p:grpSp>
        <p:nvGrpSpPr>
          <p:cNvPr id="25" name="Group 52">
            <a:extLst>
              <a:ext uri="{FF2B5EF4-FFF2-40B4-BE49-F238E27FC236}">
                <a16:creationId xmlns:a16="http://schemas.microsoft.com/office/drawing/2014/main" xmlns="" id="{296946A3-84A6-4159-8FBA-19C3245A39D4}"/>
              </a:ext>
            </a:extLst>
          </p:cNvPr>
          <p:cNvGrpSpPr/>
          <p:nvPr/>
        </p:nvGrpSpPr>
        <p:grpSpPr>
          <a:xfrm>
            <a:off x="4085110" y="4628582"/>
            <a:ext cx="1268951" cy="1251331"/>
            <a:chOff x="5562600" y="4450327"/>
            <a:chExt cx="1066800" cy="1066798"/>
          </a:xfrm>
          <a:solidFill>
            <a:srgbClr val="F6FAC2"/>
          </a:solidFill>
        </p:grpSpPr>
        <p:sp>
          <p:nvSpPr>
            <p:cNvPr id="26" name="Oval 53">
              <a:extLst>
                <a:ext uri="{FF2B5EF4-FFF2-40B4-BE49-F238E27FC236}">
                  <a16:creationId xmlns:a16="http://schemas.microsoft.com/office/drawing/2014/main" xmlns="" id="{E89BCA2F-5EC8-4AA0-9EB0-1C1204CAD664}"/>
                </a:ext>
              </a:extLst>
            </p:cNvPr>
            <p:cNvSpPr/>
            <p:nvPr/>
          </p:nvSpPr>
          <p:spPr>
            <a:xfrm>
              <a:off x="5562600" y="4450327"/>
              <a:ext cx="1066800" cy="106679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grpSp>
          <p:nvGrpSpPr>
            <p:cNvPr id="27" name="Group 54">
              <a:extLst>
                <a:ext uri="{FF2B5EF4-FFF2-40B4-BE49-F238E27FC236}">
                  <a16:creationId xmlns:a16="http://schemas.microsoft.com/office/drawing/2014/main" xmlns="" id="{A014EF00-A86E-4E18-9F26-529E98EA908E}"/>
                </a:ext>
              </a:extLst>
            </p:cNvPr>
            <p:cNvGrpSpPr/>
            <p:nvPr/>
          </p:nvGrpSpPr>
          <p:grpSpPr>
            <a:xfrm>
              <a:off x="5607846" y="4495572"/>
              <a:ext cx="976310" cy="976308"/>
              <a:chOff x="6596593" y="713628"/>
              <a:chExt cx="1759609" cy="1759609"/>
            </a:xfrm>
            <a:grpFill/>
          </p:grpSpPr>
          <p:sp>
            <p:nvSpPr>
              <p:cNvPr id="28" name="Oval 55">
                <a:extLst>
                  <a:ext uri="{FF2B5EF4-FFF2-40B4-BE49-F238E27FC236}">
                    <a16:creationId xmlns:a16="http://schemas.microsoft.com/office/drawing/2014/main" xmlns="" id="{90C284B5-F239-4E6D-9C5E-6896CFAAF1D3}"/>
                  </a:ext>
                </a:extLst>
              </p:cNvPr>
              <p:cNvSpPr/>
              <p:nvPr/>
            </p:nvSpPr>
            <p:spPr>
              <a:xfrm>
                <a:off x="6596593" y="713628"/>
                <a:ext cx="1759609" cy="1759609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29" name="Oval 56">
                <a:extLst>
                  <a:ext uri="{FF2B5EF4-FFF2-40B4-BE49-F238E27FC236}">
                    <a16:creationId xmlns:a16="http://schemas.microsoft.com/office/drawing/2014/main" xmlns="" id="{EDB113BA-A266-4F26-A54A-3ECD01C38D31}"/>
                  </a:ext>
                </a:extLst>
              </p:cNvPr>
              <p:cNvSpPr/>
              <p:nvPr/>
            </p:nvSpPr>
            <p:spPr>
              <a:xfrm>
                <a:off x="6700878" y="817913"/>
                <a:ext cx="1551041" cy="155104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</p:grpSp>
      <p:grpSp>
        <p:nvGrpSpPr>
          <p:cNvPr id="30" name="Group 52">
            <a:extLst>
              <a:ext uri="{FF2B5EF4-FFF2-40B4-BE49-F238E27FC236}">
                <a16:creationId xmlns:a16="http://schemas.microsoft.com/office/drawing/2014/main" xmlns="" id="{296946A3-84A6-4159-8FBA-19C3245A39D4}"/>
              </a:ext>
            </a:extLst>
          </p:cNvPr>
          <p:cNvGrpSpPr/>
          <p:nvPr/>
        </p:nvGrpSpPr>
        <p:grpSpPr>
          <a:xfrm>
            <a:off x="6898334" y="4628582"/>
            <a:ext cx="1268951" cy="1251331"/>
            <a:chOff x="5562600" y="4450327"/>
            <a:chExt cx="1066800" cy="1066798"/>
          </a:xfrm>
          <a:solidFill>
            <a:srgbClr val="F6FAC2"/>
          </a:solidFill>
        </p:grpSpPr>
        <p:sp>
          <p:nvSpPr>
            <p:cNvPr id="31" name="Oval 53">
              <a:extLst>
                <a:ext uri="{FF2B5EF4-FFF2-40B4-BE49-F238E27FC236}">
                  <a16:creationId xmlns:a16="http://schemas.microsoft.com/office/drawing/2014/main" xmlns="" id="{E89BCA2F-5EC8-4AA0-9EB0-1C1204CAD664}"/>
                </a:ext>
              </a:extLst>
            </p:cNvPr>
            <p:cNvSpPr/>
            <p:nvPr/>
          </p:nvSpPr>
          <p:spPr>
            <a:xfrm>
              <a:off x="5562600" y="4450327"/>
              <a:ext cx="1066800" cy="1066798"/>
            </a:xfrm>
            <a:prstGeom prst="ellipse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grpSp>
          <p:nvGrpSpPr>
            <p:cNvPr id="32" name="Group 54">
              <a:extLst>
                <a:ext uri="{FF2B5EF4-FFF2-40B4-BE49-F238E27FC236}">
                  <a16:creationId xmlns:a16="http://schemas.microsoft.com/office/drawing/2014/main" xmlns="" id="{A014EF00-A86E-4E18-9F26-529E98EA908E}"/>
                </a:ext>
              </a:extLst>
            </p:cNvPr>
            <p:cNvGrpSpPr/>
            <p:nvPr/>
          </p:nvGrpSpPr>
          <p:grpSpPr>
            <a:xfrm>
              <a:off x="5607846" y="4495572"/>
              <a:ext cx="976310" cy="976308"/>
              <a:chOff x="6596593" y="713628"/>
              <a:chExt cx="1759609" cy="1759609"/>
            </a:xfrm>
            <a:grpFill/>
          </p:grpSpPr>
          <p:sp>
            <p:nvSpPr>
              <p:cNvPr id="33" name="Oval 55">
                <a:extLst>
                  <a:ext uri="{FF2B5EF4-FFF2-40B4-BE49-F238E27FC236}">
                    <a16:creationId xmlns:a16="http://schemas.microsoft.com/office/drawing/2014/main" xmlns="" id="{90C284B5-F239-4E6D-9C5E-6896CFAAF1D3}"/>
                  </a:ext>
                </a:extLst>
              </p:cNvPr>
              <p:cNvSpPr/>
              <p:nvPr/>
            </p:nvSpPr>
            <p:spPr>
              <a:xfrm>
                <a:off x="6596593" y="713628"/>
                <a:ext cx="1759609" cy="1759609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000"/>
              </a:p>
            </p:txBody>
          </p:sp>
          <p:sp>
            <p:nvSpPr>
              <p:cNvPr id="34" name="Oval 56">
                <a:extLst>
                  <a:ext uri="{FF2B5EF4-FFF2-40B4-BE49-F238E27FC236}">
                    <a16:creationId xmlns:a16="http://schemas.microsoft.com/office/drawing/2014/main" xmlns="" id="{EDB113BA-A266-4F26-A54A-3ECD01C38D31}"/>
                  </a:ext>
                </a:extLst>
              </p:cNvPr>
              <p:cNvSpPr/>
              <p:nvPr/>
            </p:nvSpPr>
            <p:spPr>
              <a:xfrm>
                <a:off x="6700878" y="817913"/>
                <a:ext cx="1551041" cy="1551041"/>
              </a:xfrm>
              <a:prstGeom prst="ellipse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00"/>
              </a:p>
            </p:txBody>
          </p:sp>
        </p:grpSp>
      </p:grpSp>
      <p:sp>
        <p:nvSpPr>
          <p:cNvPr id="47" name="Прямоугольник 46"/>
          <p:cNvSpPr/>
          <p:nvPr/>
        </p:nvSpPr>
        <p:spPr>
          <a:xfrm>
            <a:off x="622170" y="1219953"/>
            <a:ext cx="353122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986">
              <a:defRPr/>
            </a:pP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мочь людям с инвалидностью создать свой бизнес </a:t>
            </a: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и сделать первые шаги</a:t>
            </a:r>
            <a:endParaRPr lang="ru-RU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563413" y="2120436"/>
            <a:ext cx="2978950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986">
              <a:defRPr/>
            </a:pP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обрать на одной площадке в качестве спикеров представителей банка, государственных органов, некоммерческих </a:t>
            </a: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рганизаций, </a:t>
            </a: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бщественных организаций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540534" y="4054785"/>
            <a:ext cx="322659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986">
              <a:defRPr/>
            </a:pP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На </a:t>
            </a: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дной площадке дать </a:t>
            </a: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работающие инструменты экспертов о </a:t>
            </a: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том, как начать свой </a:t>
            </a: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бизнес, составить бизнес-план.</a:t>
            </a:r>
          </a:p>
          <a:p>
            <a:pPr defTabSz="913986">
              <a:defRPr/>
            </a:pPr>
            <a:endParaRPr lang="ru-RU" sz="1600" dirty="0"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9445002" y="1015831"/>
            <a:ext cx="324218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986">
              <a:defRPr/>
            </a:pP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игласить </a:t>
            </a: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 участию в проекте  потенциальных предпринимателей с инвалидностью из </a:t>
            </a: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шести </a:t>
            </a: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территорий </a:t>
            </a: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ЦЧБ</a:t>
            </a:r>
            <a:endParaRPr lang="ru-RU" sz="1600" dirty="0"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9395254" y="2457338"/>
            <a:ext cx="246307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986">
              <a:defRPr/>
            </a:pP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оздать сообщество неравнодушных и равных </a:t>
            </a:r>
            <a:r>
              <a:rPr lang="ru-RU" sz="1600" dirty="0" err="1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бер</a:t>
            </a: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для всех </a:t>
            </a:r>
            <a:endParaRPr lang="ru-RU" sz="1600" dirty="0"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</p:txBody>
      </p:sp>
      <p:pic>
        <p:nvPicPr>
          <p:cNvPr id="54" name="Picture 4" descr="https://phonoteka.org/uploads/posts/2022-09/1663650357_10-phonoteka-org-p-galochka-bez-fona-oboi-1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932" y="1444440"/>
            <a:ext cx="405812" cy="324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6" name="Picture 4" descr="https://phonoteka.org/uploads/posts/2022-09/1663650357_10-phonoteka-org-p-galochka-bez-fona-oboi-1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919" y="2404010"/>
            <a:ext cx="405812" cy="324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4" descr="https://phonoteka.org/uploads/posts/2022-09/1663650357_10-phonoteka-org-p-galochka-bez-fona-oboi-1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919" y="4189475"/>
            <a:ext cx="405812" cy="324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4" descr="https://phonoteka.org/uploads/posts/2022-09/1663650357_10-phonoteka-org-p-galochka-bez-fona-oboi-1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8167" y="1152678"/>
            <a:ext cx="405812" cy="324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4" descr="https://phonoteka.org/uploads/posts/2022-09/1663650357_10-phonoteka-org-p-galochka-bez-fona-oboi-1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08167" y="2566335"/>
            <a:ext cx="405812" cy="324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4" descr="https://phonoteka.org/uploads/posts/2022-09/1663650357_10-phonoteka-org-p-galochka-bez-fona-oboi-12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1486" y="4071294"/>
            <a:ext cx="405812" cy="324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Прямоугольник 34"/>
          <p:cNvSpPr/>
          <p:nvPr/>
        </p:nvSpPr>
        <p:spPr>
          <a:xfrm>
            <a:off x="9249716" y="3805650"/>
            <a:ext cx="3048519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3986">
              <a:defRPr/>
            </a:pPr>
            <a:r>
              <a:rPr lang="ru-RU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озможности для бизнеса</a:t>
            </a:r>
          </a:p>
          <a:p>
            <a:pPr defTabSz="913986">
              <a:defRPr/>
            </a:pPr>
            <a:r>
              <a:rPr lang="ru-RU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 помощью государственных мер финансовой поддержки, грантов и субсидий</a:t>
            </a: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26770" y="2866854"/>
            <a:ext cx="679433" cy="581595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09888" y="1048170"/>
            <a:ext cx="593445" cy="562536"/>
          </a:xfrm>
          <a:prstGeom prst="rect">
            <a:avLst/>
          </a:prstGeom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02233" y="1152678"/>
            <a:ext cx="697731" cy="499190"/>
          </a:xfrm>
          <a:prstGeom prst="rect">
            <a:avLst/>
          </a:prstGeom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87014" y="3110276"/>
            <a:ext cx="609972" cy="510158"/>
          </a:xfrm>
          <a:prstGeom prst="rect">
            <a:avLst/>
          </a:prstGeom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417038" y="4948592"/>
            <a:ext cx="605093" cy="629791"/>
          </a:xfrm>
          <a:prstGeom prst="rect">
            <a:avLst/>
          </a:prstGeom>
        </p:spPr>
      </p:pic>
      <p:pic>
        <p:nvPicPr>
          <p:cNvPr id="64" name="Рисунок 6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230282" y="4866222"/>
            <a:ext cx="677358" cy="691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3828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295101" y="246446"/>
            <a:ext cx="10363200" cy="442029"/>
          </a:xfrm>
        </p:spPr>
        <p:txBody>
          <a:bodyPr/>
          <a:lstStyle/>
          <a:p>
            <a:r>
              <a:rPr lang="ru-RU" dirty="0" smtClean="0"/>
              <a:t>Описание продукта и проекта</a:t>
            </a:r>
            <a:endParaRPr lang="ru-RU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119336" y="820282"/>
            <a:ext cx="33133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6993">
              <a:defRPr/>
            </a:pPr>
            <a:r>
              <a:rPr lang="ru-RU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ффект от реализации / создаваемая ценность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3791744" y="764775"/>
            <a:ext cx="7848872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456993">
              <a:defRPr/>
            </a:pP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ыведение  бизнеса людей с ОВЗ из тени, привлечение на обслуживание новых клиентов, развитие бизнеса клиентов </a:t>
            </a: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за </a:t>
            </a: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чет привлечения субсидий и грантов, поддержание стратегии  </a:t>
            </a: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банка: </a:t>
            </a: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«</a:t>
            </a:r>
            <a:r>
              <a:rPr lang="ru-RU" sz="1600" dirty="0" err="1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бер</a:t>
            </a: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- банк </a:t>
            </a: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ля всех».</a:t>
            </a:r>
          </a:p>
          <a:p>
            <a:pPr algn="just" defTabSz="456993">
              <a:defRPr/>
            </a:pP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416333" y="1839580"/>
            <a:ext cx="259228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6993">
              <a:defRPr/>
            </a:pPr>
            <a:r>
              <a:rPr lang="ru-RU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писание продукта проекта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416333" y="4797152"/>
            <a:ext cx="246575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6993">
              <a:defRPr/>
            </a:pPr>
            <a:r>
              <a:rPr lang="ru-RU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нешние  </a:t>
            </a:r>
            <a:r>
              <a:rPr lang="ru-RU" b="1" dirty="0" err="1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ейкхолдеры</a:t>
            </a:r>
            <a:r>
              <a:rPr lang="ru-RU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проекта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567846" y="1660262"/>
            <a:ext cx="8079971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 defTabSz="456993">
              <a:buFontTx/>
              <a:buChar char="-"/>
              <a:defRPr/>
            </a:pP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ограмма </a:t>
            </a: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бучения рассчитана на 10 недель ( 1 трехчасовое занятие  в неделю</a:t>
            </a: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);</a:t>
            </a:r>
          </a:p>
          <a:p>
            <a:pPr marL="285750" indent="-285750" algn="just" defTabSz="456993">
              <a:buFontTx/>
              <a:buChar char="-"/>
              <a:defRPr/>
            </a:pP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успешные </a:t>
            </a: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едприниматели с ОВЗ поделятся своим </a:t>
            </a: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пытом, будут </a:t>
            </a: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аны базовые знания по компетенциям предпринимателя, мерам финансовой поддержки при запуске бизнеса и его развитии, получат «налоговый </a:t>
            </a:r>
            <a:r>
              <a:rPr lang="ru-RU" sz="1600" dirty="0" err="1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лекбез</a:t>
            </a: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», научатся составлять коммерческие </a:t>
            </a: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едложения, </a:t>
            </a: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авильно оформлять страницу в </a:t>
            </a:r>
            <a:r>
              <a:rPr lang="ru-RU" sz="1600" dirty="0" err="1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оцсетях</a:t>
            </a: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;</a:t>
            </a:r>
          </a:p>
          <a:p>
            <a:pPr marL="285750" indent="-285750" algn="just" defTabSz="456993">
              <a:buFontTx/>
              <a:buChar char="-"/>
              <a:defRPr/>
            </a:pP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основное </a:t>
            </a: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ремя будет посвящено правильному составлению </a:t>
            </a: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бизнес-плана для получения </a:t>
            </a: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дополнительного финансирования. </a:t>
            </a:r>
            <a:endParaRPr lang="ru-RU" sz="1600" dirty="0" smtClean="0"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85750" indent="-285750" algn="just" defTabSz="456993">
              <a:buFontTx/>
              <a:buChar char="-"/>
              <a:defRPr/>
            </a:pP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каждое </a:t>
            </a: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занятие сопровождается домашним заданием.  </a:t>
            </a:r>
            <a:endParaRPr lang="ru-RU" sz="1600" dirty="0" smtClean="0">
              <a:latin typeface="SB Sans Display Light" panose="020B0303040504020204" pitchFamily="34" charset="0"/>
              <a:cs typeface="SB Sans Display Light" panose="020B0303040504020204" pitchFamily="34" charset="0"/>
            </a:endParaRPr>
          </a:p>
          <a:p>
            <a:pPr marL="285750" indent="-285750" algn="just" defTabSz="456993">
              <a:buFontTx/>
              <a:buChar char="-"/>
              <a:defRPr/>
            </a:pP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вторая </a:t>
            </a: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оловина обучения сопровождается менторами из числа действующих предпринимателей.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3779331" y="4767053"/>
            <a:ext cx="742326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456993">
              <a:defRPr/>
            </a:pP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Центр </a:t>
            </a: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занятости населения, «Опора России», «Мой бизнес», Общественные организации, </a:t>
            </a: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Успешные </a:t>
            </a: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предпринимателя с ОВЗ, действующие предприниматели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780226" y="6035405"/>
            <a:ext cx="21018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6993">
              <a:defRPr/>
            </a:pPr>
            <a:r>
              <a:rPr lang="ru-RU" b="1" dirty="0">
                <a:solidFill>
                  <a:schemeClr val="accent5">
                    <a:lumMod val="7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роки реализации 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3791744" y="6220071"/>
            <a:ext cx="752301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456993">
              <a:defRPr/>
            </a:pP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Запуск занятий </a:t>
            </a: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8 </a:t>
            </a: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сентября 2023 г. </a:t>
            </a:r>
            <a:r>
              <a:rPr lang="ru-RU" sz="1600" dirty="0" smtClean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 Проект продлится до 30.12.2023</a:t>
            </a:r>
            <a:r>
              <a:rPr lang="ru-RU" sz="1600" dirty="0">
                <a:latin typeface="SB Sans Display Light" panose="020B0303040504020204" pitchFamily="34" charset="0"/>
                <a:cs typeface="SB Sans Display Light" panose="020B0303040504020204" pitchFamily="34" charset="0"/>
              </a:rPr>
              <a:t>.  </a:t>
            </a:r>
          </a:p>
        </p:txBody>
      </p:sp>
    </p:spTree>
    <p:extLst>
      <p:ext uri="{BB962C8B-B14F-4D97-AF65-F5344CB8AC3E}">
        <p14:creationId xmlns:p14="http://schemas.microsoft.com/office/powerpoint/2010/main" val="3835526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304800" y="446088"/>
            <a:ext cx="10363200" cy="442029"/>
          </a:xfrm>
        </p:spPr>
        <p:txBody>
          <a:bodyPr/>
          <a:lstStyle/>
          <a:p>
            <a:r>
              <a:rPr lang="ru-RU" dirty="0" smtClean="0"/>
              <a:t>Программа мероприятия </a:t>
            </a:r>
            <a:endParaRPr lang="ru-RU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03753928"/>
              </p:ext>
            </p:extLst>
          </p:nvPr>
        </p:nvGraphicFramePr>
        <p:xfrm>
          <a:off x="1919536" y="1124744"/>
          <a:ext cx="7839075" cy="54181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4" name="Лист" r:id="rId3" imgW="19307160" imgH="13344685" progId="Excel.Sheet.12">
                  <p:embed/>
                </p:oleObj>
              </mc:Choice>
              <mc:Fallback>
                <p:oleObj name="Лист" r:id="rId3" imgW="19307160" imgH="13344685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19536" y="1124744"/>
                        <a:ext cx="7839075" cy="54181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57684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304800" y="446088"/>
            <a:ext cx="10363200" cy="442029"/>
          </a:xfrm>
        </p:spPr>
        <p:txBody>
          <a:bodyPr/>
          <a:lstStyle/>
          <a:p>
            <a:r>
              <a:rPr lang="ru-RU" dirty="0" smtClean="0"/>
              <a:t>Программа мероприятия </a:t>
            </a:r>
            <a:endParaRPr lang="ru-RU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08532693"/>
              </p:ext>
            </p:extLst>
          </p:nvPr>
        </p:nvGraphicFramePr>
        <p:xfrm>
          <a:off x="1558925" y="1268413"/>
          <a:ext cx="8128000" cy="46831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2" name="Лист" r:id="rId3" imgW="19307160" imgH="11125067" progId="Excel.Sheet.12">
                  <p:embed/>
                </p:oleObj>
              </mc:Choice>
              <mc:Fallback>
                <p:oleObj name="Лист" r:id="rId3" imgW="19307160" imgH="11125067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58925" y="1268413"/>
                        <a:ext cx="8128000" cy="46831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56233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304800" y="446088"/>
            <a:ext cx="10363200" cy="442029"/>
          </a:xfrm>
        </p:spPr>
        <p:txBody>
          <a:bodyPr/>
          <a:lstStyle/>
          <a:p>
            <a:r>
              <a:rPr lang="ru-RU" dirty="0" smtClean="0"/>
              <a:t>Программа мероприятия </a:t>
            </a:r>
            <a:endParaRPr lang="ru-RU" dirty="0"/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64410415"/>
              </p:ext>
            </p:extLst>
          </p:nvPr>
        </p:nvGraphicFramePr>
        <p:xfrm>
          <a:off x="2032000" y="1772816"/>
          <a:ext cx="8128000" cy="28102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6" name="Лист" r:id="rId3" imgW="19307160" imgH="5486280" progId="Excel.Sheet.12">
                  <p:embed/>
                </p:oleObj>
              </mc:Choice>
              <mc:Fallback>
                <p:oleObj name="Лист" r:id="rId3" imgW="19307160" imgH="54862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32000" y="1772816"/>
                        <a:ext cx="8128000" cy="281029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6817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>
          <a:xfrm>
            <a:off x="304800" y="446088"/>
            <a:ext cx="10363200" cy="442029"/>
          </a:xfrm>
        </p:spPr>
        <p:txBody>
          <a:bodyPr/>
          <a:lstStyle/>
          <a:p>
            <a:r>
              <a:rPr lang="ru-RU" dirty="0" smtClean="0"/>
              <a:t>Даты занятий  </a:t>
            </a:r>
            <a:endParaRPr lang="ru-RU" dirty="0"/>
          </a:p>
        </p:txBody>
      </p:sp>
      <p:graphicFrame>
        <p:nvGraphicFramePr>
          <p:cNvPr id="5" name="Объект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28126334"/>
              </p:ext>
            </p:extLst>
          </p:nvPr>
        </p:nvGraphicFramePr>
        <p:xfrm>
          <a:off x="3709988" y="2003425"/>
          <a:ext cx="4772025" cy="2847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5" name="Лист" r:id="rId3" imgW="4772160" imgH="2847988" progId="Excel.Sheet.12">
                  <p:embed/>
                </p:oleObj>
              </mc:Choice>
              <mc:Fallback>
                <p:oleObj name="Лист" r:id="rId3" imgW="4772160" imgH="284798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709988" y="2003425"/>
                        <a:ext cx="4772025" cy="2847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0143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8_Firm Format - Russian">
  <a:themeElements>
    <a:clrScheme name="Цвет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Century Gothic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5_Firm Format - Russian">
  <a:themeElements>
    <a:clrScheme name="Цвет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Century Gothic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0_Firm Format - Russian">
  <a:themeElements>
    <a:clrScheme name="Цвет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Century Gothic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9_Firm Format - Russian">
  <a:themeElements>
    <a:clrScheme name="Цвет 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1E9B3"/>
      </a:accent1>
      <a:accent2>
        <a:srgbClr val="87C53B"/>
      </a:accent2>
      <a:accent3>
        <a:srgbClr val="FFC000"/>
      </a:accent3>
      <a:accent4>
        <a:srgbClr val="008000"/>
      </a:accent4>
      <a:accent5>
        <a:srgbClr val="FF6600"/>
      </a:accent5>
      <a:accent6>
        <a:srgbClr val="969696"/>
      </a:accent6>
      <a:hlink>
        <a:srgbClr val="FFC000"/>
      </a:hlink>
      <a:folHlink>
        <a:srgbClr val="008000"/>
      </a:folHlink>
    </a:clrScheme>
    <a:fontScheme name="Century Gothic">
      <a:maj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color them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6D476"/>
        </a:accent1>
        <a:accent2>
          <a:srgbClr val="86C1D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86C1DE"/>
        </a:accent1>
        <a:accent2>
          <a:srgbClr val="F6D476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 Templat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ADD4EF"/>
        </a:accent1>
        <a:accent2>
          <a:srgbClr val="F6D26E"/>
        </a:accent2>
        <a:accent3>
          <a:srgbClr val="1082CF"/>
        </a:accent3>
        <a:accent4>
          <a:srgbClr val="258997"/>
        </a:accent4>
        <a:accent5>
          <a:srgbClr val="FF6600"/>
        </a:accent5>
        <a:accent6>
          <a:srgbClr val="808080"/>
        </a:accent6>
        <a:hlink>
          <a:srgbClr val="1082CF"/>
        </a:hlink>
        <a:folHlink>
          <a:srgbClr val="2589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0259</TotalTime>
  <Words>296</Words>
  <Application>Microsoft Office PowerPoint</Application>
  <PresentationFormat>Широкоэкранный</PresentationFormat>
  <Paragraphs>35</Paragraphs>
  <Slides>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8</vt:i4>
      </vt:variant>
    </vt:vector>
  </HeadingPairs>
  <TitlesOfParts>
    <vt:vector size="24" baseType="lpstr">
      <vt:lpstr>Wingdings</vt:lpstr>
      <vt:lpstr>Arial</vt:lpstr>
      <vt:lpstr>SB Sans Text Heavy</vt:lpstr>
      <vt:lpstr>Calibri</vt:lpstr>
      <vt:lpstr>SB Sans Display</vt:lpstr>
      <vt:lpstr>SB Sans Text</vt:lpstr>
      <vt:lpstr>SB Sans Display Light</vt:lpstr>
      <vt:lpstr>Century Gothic</vt:lpstr>
      <vt:lpstr>SB Sans Display Semibold</vt:lpstr>
      <vt:lpstr>18_Firm Format - Russian</vt:lpstr>
      <vt:lpstr>15_Firm Format - Russian</vt:lpstr>
      <vt:lpstr>10_Firm Format - Russian</vt:lpstr>
      <vt:lpstr>19_Firm Format - Russian</vt:lpstr>
      <vt:lpstr>think-cell Slide</vt:lpstr>
      <vt:lpstr>Слайд think-cell</vt:lpstr>
      <vt:lpstr>Лист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Manager/>
  <Company>ПАО Сбербанк России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рхетипы</dc:title>
  <dc:subject/>
  <dc:creator>Онохова Евгения</dc:creator>
  <cp:keywords/>
  <dc:description/>
  <cp:lastModifiedBy>Константин Суханов</cp:lastModifiedBy>
  <cp:revision>1486</cp:revision>
  <cp:lastPrinted>2023-09-06T07:26:50Z</cp:lastPrinted>
  <dcterms:created xsi:type="dcterms:W3CDTF">2020-06-19T07:58:09Z</dcterms:created>
  <dcterms:modified xsi:type="dcterms:W3CDTF">2023-09-08T11:48:13Z</dcterms:modified>
  <cp:category/>
</cp:coreProperties>
</file>